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3" r:id="rId2"/>
    <p:sldId id="387" r:id="rId3"/>
    <p:sldId id="394" r:id="rId4"/>
    <p:sldId id="393" r:id="rId5"/>
    <p:sldId id="388" r:id="rId6"/>
    <p:sldId id="375" r:id="rId7"/>
    <p:sldId id="379" r:id="rId8"/>
    <p:sldId id="391" r:id="rId9"/>
  </p:sldIdLst>
  <p:sldSz cx="9144000" cy="6858000" type="screen4x3"/>
  <p:notesSz cx="6834188" cy="99790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892F"/>
    <a:srgbClr val="05857F"/>
    <a:srgbClr val="07C1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707" autoAdjust="0"/>
  </p:normalViewPr>
  <p:slideViewPr>
    <p:cSldViewPr>
      <p:cViewPr varScale="1">
        <p:scale>
          <a:sx n="106" d="100"/>
          <a:sy n="106" d="100"/>
        </p:scale>
        <p:origin x="1656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35768748105497028"/>
          <c:y val="4.8012894400622147E-2"/>
          <c:w val="0.63913998903862701"/>
          <c:h val="0.7005912946566775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explosion val="4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explosion val="4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5.9101766470392177E-2"/>
                  <c:y val="6.89953720419953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2530930906666934E-2"/>
                  <c:y val="-0.3417155038329075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9704073284786536E-2"/>
                      <c:h val="0.12676542884123987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7.3598009312096577E-2"/>
                  <c:y val="-0.191437496528163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8.5256436153558698E-2"/>
                  <c:y val="5.4932698450172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0,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непосредственное управление собственниками в количестве менее 20 человек</c:v>
                </c:pt>
                <c:pt idx="1">
                  <c:v>КСК</c:v>
                </c:pt>
                <c:pt idx="2">
                  <c:v>управляющие организации</c:v>
                </c:pt>
                <c:pt idx="3">
                  <c:v>иные формы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3</c:v>
                </c:pt>
                <c:pt idx="1">
                  <c:v>23</c:v>
                </c:pt>
                <c:pt idx="2">
                  <c:v>3.6</c:v>
                </c:pt>
                <c:pt idx="3">
                  <c:v>3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accent1">
              <a:lumMod val="50000"/>
            </a:schemeClr>
          </a:solidFill>
        </a:defRPr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498</cdr:x>
      <cdr:y>0.0625</cdr:y>
    </cdr:from>
    <cdr:to>
      <cdr:x>0.38863</cdr:x>
      <cdr:y>0.9062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216025" y="144016"/>
          <a:ext cx="3144363" cy="19442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3665</cdr:x>
      <cdr:y>0.03479</cdr:y>
    </cdr:from>
    <cdr:to>
      <cdr:x>0.06164</cdr:x>
      <cdr:y>0.12854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16918" y="96651"/>
          <a:ext cx="216024" cy="260434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00589</cdr:y>
    </cdr:from>
    <cdr:to>
      <cdr:x>0.41639</cdr:x>
      <cdr:y>0.30999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688452" y="16362"/>
          <a:ext cx="2911949" cy="84478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just"/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епосредственное совместное управление всеми собственниками, если их количество не превышает двадцати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5 500 единиц или 43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3665</cdr:x>
      <cdr:y>0.31992</cdr:y>
    </cdr:from>
    <cdr:to>
      <cdr:x>0.06164</cdr:x>
      <cdr:y>0.41367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16918" y="888738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31282</cdr:y>
    </cdr:from>
    <cdr:to>
      <cdr:x>0.37475</cdr:x>
      <cdr:y>0.43782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688488" y="869015"/>
          <a:ext cx="2551873" cy="3472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СК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(2984 единиц или 23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3665</cdr:x>
      <cdr:y>0.49144</cdr:y>
    </cdr:from>
    <cdr:to>
      <cdr:x>0.06164</cdr:x>
      <cdr:y>0.58519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316918" y="1365196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5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46552</cdr:y>
    </cdr:from>
    <cdr:to>
      <cdr:x>0.41639</cdr:x>
      <cdr:y>0.59052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688452" y="1293202"/>
          <a:ext cx="2911949" cy="347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Управление объектом кондоминиума выборными или наемными физическими или юридическими лицами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(466 единиц или 3,6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3695</cdr:x>
      <cdr:y>0.78378</cdr:y>
    </cdr:from>
    <cdr:to>
      <cdr:x>0.06193</cdr:x>
      <cdr:y>0.87753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319459" y="2177330"/>
          <a:ext cx="216024" cy="260435"/>
        </a:xfrm>
        <a:prstGeom xmlns:a="http://schemas.openxmlformats.org/drawingml/2006/main" prst="rect">
          <a:avLst/>
        </a:prstGeom>
        <a:solidFill xmlns:a="http://schemas.openxmlformats.org/drawingml/2006/main">
          <a:schemeClr val="tx2"/>
        </a:solidFill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7962</cdr:x>
      <cdr:y>0.80249</cdr:y>
    </cdr:from>
    <cdr:to>
      <cdr:x>0.40806</cdr:x>
      <cdr:y>0.92749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688452" y="2229295"/>
          <a:ext cx="2839941" cy="347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just"/>
          <a:r>
            <a:rPr lang="ru-RU" sz="1200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Иные формы  </a:t>
          </a:r>
          <a:r>
            <a:rPr lang="ru-RU" sz="1200" b="1" dirty="0" smtClean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4050  единиц или 30,4%)</a:t>
          </a:r>
          <a:endParaRPr lang="ru-RU" sz="1200" b="1" dirty="0">
            <a:solidFill>
              <a:schemeClr val="accent1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2275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71913" y="0"/>
            <a:ext cx="2960687" cy="5000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D19EB1-DFC1-4A2C-A043-91D4CC0B36C6}" type="datetimeFigureOut">
              <a:rPr lang="ru-RU" smtClean="0"/>
              <a:t>26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78963"/>
            <a:ext cx="2962275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71913" y="9478963"/>
            <a:ext cx="2960687" cy="50006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942F8E-DB22-4E7A-A8F2-9DF278FA00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73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71125" y="0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47184B-9175-4548-BCEB-22EA739182A7}" type="datetimeFigureOut">
              <a:rPr lang="ru-RU" smtClean="0"/>
              <a:pPr/>
              <a:t>26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7713"/>
            <a:ext cx="4991100" cy="3743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3419" y="4740037"/>
            <a:ext cx="5467350" cy="44905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71125" y="9478342"/>
            <a:ext cx="2961481" cy="4989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FDE432-1E8B-4871-ADFB-5AD620E7B44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131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922DEE-E687-45F1-A730-6E3C9ABBF574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73869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FDE432-1E8B-4871-ADFB-5AD620E7B445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3173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8400" y="1243013"/>
            <a:ext cx="4471988" cy="3354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13693B-6A39-470E-8FE7-4E534A139B1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1779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903078-4B76-495C-ACBD-FC0864AE7A1D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D8155-1BF4-4584-A512-F5A4F8E5A724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9490A-CA32-4C8F-94B1-B8C28D059A8F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8473EC-D703-47DD-8944-2BDFE7D8E109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5F7D7-7ED8-4F42-BD82-3DA0D042A58C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790CB-7A85-42A3-AF5C-134EA50FFFEC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5E5A42-8974-4B33-9DF7-2E90E857433C}" type="datetime1">
              <a:rPr lang="ru-RU" smtClean="0"/>
              <a:t>26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BCFAA-1C22-482C-A178-8D4C86963A87}" type="datetime1">
              <a:rPr lang="ru-RU" smtClean="0"/>
              <a:t>26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72EEE-0A76-4903-9645-D2C926860A74}" type="datetime1">
              <a:rPr lang="ru-RU" smtClean="0"/>
              <a:t>26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C4E45-D100-4BA9-806D-911337D4804F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DFCA84-54BC-478A-B1CE-61CF191C4D2B}" type="datetime1">
              <a:rPr lang="ru-RU" smtClean="0"/>
              <a:t>26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EE760F-DC98-403F-A2AA-3AE24091873B}" type="datetime1">
              <a:rPr lang="ru-RU" smtClean="0"/>
              <a:t>26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2E8994-2F43-427D-9809-E3B9C6FA36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11" Type="http://schemas.openxmlformats.org/officeDocument/2006/relationships/image" Target="../media/image13.png"/><Relationship Id="rId5" Type="http://schemas.openxmlformats.org/officeDocument/2006/relationships/image" Target="../media/image5.emf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jpeg"/><Relationship Id="rId1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Прямоугольник 6"/>
          <p:cNvSpPr>
            <a:spLocks noChangeArrowheads="1"/>
          </p:cNvSpPr>
          <p:nvPr/>
        </p:nvSpPr>
        <p:spPr bwMode="auto">
          <a:xfrm>
            <a:off x="3923928" y="6165304"/>
            <a:ext cx="18581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Астана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2017 год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79491" y="86544"/>
            <a:ext cx="7666416" cy="58477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КАЗАХСТАНСКИЙ ЦЕНТР МОДЕРНИЗАЦИИ И РАЗВИТИЯ ЖИЛИЩНО-КОММУНАЛЬНОГО ХОЗЯЙСТВА»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820" y="-1"/>
            <a:ext cx="985665" cy="671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" y="3341928"/>
            <a:ext cx="2929858" cy="22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776" y="3336667"/>
            <a:ext cx="2984277" cy="2256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581" y="3341928"/>
            <a:ext cx="2835687" cy="2250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-9291" y="1556792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1509" y="3148480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77390" y="1874286"/>
            <a:ext cx="88748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4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 МЕРАХ ПО УЛУЧШЕНИЮ ЖИЛИЩНОГО ХОЗЯЙСТВА И ПРЕДЛОЖЕНИЯ ПО ЕЕ МОДЕРНИЗАЦИИ</a:t>
            </a:r>
          </a:p>
        </p:txBody>
      </p:sp>
    </p:spTree>
    <p:extLst>
      <p:ext uri="{BB962C8B-B14F-4D97-AF65-F5344CB8AC3E}">
        <p14:creationId xmlns:p14="http://schemas.microsoft.com/office/powerpoint/2010/main" val="2788739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Box 5"/>
          <p:cNvSpPr txBox="1">
            <a:spLocks noChangeArrowheads="1"/>
          </p:cNvSpPr>
          <p:nvPr/>
        </p:nvSpPr>
        <p:spPr bwMode="auto">
          <a:xfrm>
            <a:off x="1012015" y="40753"/>
            <a:ext cx="7818469" cy="354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НАЛИЗ ТЕКУЩЕЙ СИТУАЦИИ В ЖИЛИЩНОМ ФОНДЕ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19872" y="3759116"/>
            <a:ext cx="2448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kern="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ы управления:</a:t>
            </a:r>
          </a:p>
        </p:txBody>
      </p:sp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47613" y="2184"/>
            <a:ext cx="985665" cy="49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2" name="Прямая соединительная линия 100"/>
          <p:cNvCxnSpPr>
            <a:cxnSpLocks noChangeShapeType="1"/>
          </p:cNvCxnSpPr>
          <p:nvPr/>
        </p:nvCxnSpPr>
        <p:spPr bwMode="auto">
          <a:xfrm>
            <a:off x="251609" y="3717032"/>
            <a:ext cx="8578875" cy="0"/>
          </a:xfrm>
          <a:prstGeom prst="line">
            <a:avLst/>
          </a:prstGeom>
          <a:noFill/>
          <a:ln w="28575" algn="ctr">
            <a:solidFill>
              <a:schemeClr val="accent1">
                <a:lumMod val="50000"/>
              </a:schemeClr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4050793280"/>
              </p:ext>
            </p:extLst>
          </p:nvPr>
        </p:nvGraphicFramePr>
        <p:xfrm>
          <a:off x="323527" y="4080028"/>
          <a:ext cx="8646727" cy="2777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830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3597" y="537855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467544" y="964257"/>
            <a:ext cx="820863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многоквартирных жилых домов (МЖД) по РК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78 073 ед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квартир –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 200 206 ед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МЖД, требующих проведения капитального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монта  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0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437 ед.  или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6,2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щая площадь  МЖД по РК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25 660,7 тыс.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в.м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отремонтированных МЖД за счет РБ - 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331 ед. или 3,0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%. </a:t>
            </a:r>
          </a:p>
          <a:p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   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 счет возвратных средств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260 ед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b="1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щее количество МЖД, находящихся в аварийном  состоянии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 266 ед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или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3%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  <a:endParaRPr lang="ru-RU" sz="1200" b="1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93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5076056" y="3965138"/>
            <a:ext cx="2558905" cy="47699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ногообразие форм управлен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466513" y="5138071"/>
            <a:ext cx="6276580" cy="68228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rgbClr val="000066"/>
              </a:buClr>
            </a:pPr>
            <a:r>
              <a:rPr lang="ru-RU" sz="13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ие проекта новой модели жилищных отношений в части упрощения механизма взаимодействия между собственниками и органами управления</a:t>
            </a:r>
          </a:p>
        </p:txBody>
      </p:sp>
      <p:sp>
        <p:nvSpPr>
          <p:cNvPr id="27" name="Стрелка вниз 26"/>
          <p:cNvSpPr/>
          <p:nvPr/>
        </p:nvSpPr>
        <p:spPr>
          <a:xfrm>
            <a:off x="2667621" y="4674297"/>
            <a:ext cx="910829" cy="229150"/>
          </a:xfrm>
          <a:prstGeom prst="downArrow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pic>
        <p:nvPicPr>
          <p:cNvPr id="32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75241"/>
            <a:ext cx="889933" cy="457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1069445" y="187816"/>
            <a:ext cx="7493273" cy="347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7500" tIns="35100" rIns="67500" bIns="35100">
            <a:spAutoFit/>
          </a:bodyPr>
          <a:lstStyle>
            <a:lvl1pPr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49263"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buClr>
                <a:srgbClr val="000066"/>
              </a:buClr>
              <a:buFont typeface="Arial" panose="020B0604020202020204" pitchFamily="34" charset="0"/>
              <a:buNone/>
            </a:pPr>
            <a:r>
              <a:rPr lang="ru-RU" altLang="ru-RU" b="1" dirty="0" smtClean="0">
                <a:solidFill>
                  <a:schemeClr val="accent1">
                    <a:lumMod val="50000"/>
                  </a:schemeClr>
                </a:solidFill>
              </a:rPr>
              <a:t>ОСНОВНЫЕ ПРОБЛЕМЫ В ЖИЛИЩНОМ СЕКТОРЕ</a:t>
            </a:r>
            <a:endParaRPr lang="ru-RU" alt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1680710" y="3986228"/>
            <a:ext cx="2701841" cy="476993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тсутствие пообъектного управления</a:t>
            </a:r>
          </a:p>
        </p:txBody>
      </p:sp>
      <p:sp>
        <p:nvSpPr>
          <p:cNvPr id="38" name="Стрелка вниз 37"/>
          <p:cNvSpPr/>
          <p:nvPr/>
        </p:nvSpPr>
        <p:spPr>
          <a:xfrm>
            <a:off x="6055683" y="4638519"/>
            <a:ext cx="910829" cy="229150"/>
          </a:xfrm>
          <a:prstGeom prst="downArrow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/>
          </a:p>
        </p:txBody>
      </p:sp>
      <p:sp>
        <p:nvSpPr>
          <p:cNvPr id="13" name="Выноска-облако 12"/>
          <p:cNvSpPr/>
          <p:nvPr/>
        </p:nvSpPr>
        <p:spPr>
          <a:xfrm>
            <a:off x="5832642" y="881951"/>
            <a:ext cx="2463326" cy="540740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Недостаточный объем полномочий органов жилищной инспекци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119" y="1881889"/>
            <a:ext cx="1110516" cy="1032673"/>
          </a:xfrm>
          <a:prstGeom prst="rect">
            <a:avLst/>
          </a:prstGeom>
        </p:spPr>
      </p:pic>
      <p:sp>
        <p:nvSpPr>
          <p:cNvPr id="43" name="Выноска-облако 42"/>
          <p:cNvSpPr/>
          <p:nvPr/>
        </p:nvSpPr>
        <p:spPr>
          <a:xfrm flipH="1">
            <a:off x="624478" y="1657821"/>
            <a:ext cx="2813044" cy="559709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тсутствие </a:t>
            </a:r>
            <a:r>
              <a:rPr lang="ru-RU" sz="75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зрачности деятельности органов управления</a:t>
            </a:r>
          </a:p>
        </p:txBody>
      </p:sp>
      <p:sp>
        <p:nvSpPr>
          <p:cNvPr id="44" name="Выноска-облако 43"/>
          <p:cNvSpPr/>
          <p:nvPr/>
        </p:nvSpPr>
        <p:spPr>
          <a:xfrm flipH="1">
            <a:off x="624478" y="832070"/>
            <a:ext cx="2498558" cy="58326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тсутствие текущих и сберегательных счетов на каждом МЖД</a:t>
            </a:r>
          </a:p>
        </p:txBody>
      </p:sp>
      <p:sp>
        <p:nvSpPr>
          <p:cNvPr id="47" name="Выноска-облако 46"/>
          <p:cNvSpPr/>
          <p:nvPr/>
        </p:nvSpPr>
        <p:spPr>
          <a:xfrm>
            <a:off x="5637056" y="2527199"/>
            <a:ext cx="2658912" cy="63452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Недоверие собственников помещений (квартир) </a:t>
            </a:r>
          </a:p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к органу управл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27584" y="3528173"/>
            <a:ext cx="7632848" cy="300347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лищный фонд - </a:t>
            </a:r>
            <a:r>
              <a:rPr 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8 073 </a:t>
            </a:r>
            <a:r>
              <a:rPr 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ЖД. Формы управления объектом кондоминиума – </a:t>
            </a:r>
            <a:r>
              <a:rPr lang="ru-RU" sz="75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2 849 ед., из них 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К -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2 984 ед.,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правляющих организаций – 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6 ед.,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вместное управление –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506 ед.</a:t>
            </a:r>
            <a:r>
              <a:rPr lang="ru-RU" altLang="ru-RU" sz="75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ые формы – </a:t>
            </a:r>
            <a:r>
              <a:rPr lang="ru-RU" altLang="ru-RU" sz="75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893 ед.</a:t>
            </a:r>
          </a:p>
        </p:txBody>
      </p:sp>
      <p:sp>
        <p:nvSpPr>
          <p:cNvPr id="41" name="Выноска-облако 40"/>
          <p:cNvSpPr/>
          <p:nvPr/>
        </p:nvSpPr>
        <p:spPr>
          <a:xfrm>
            <a:off x="5436096" y="1704270"/>
            <a:ext cx="2859872" cy="586521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тсутствие в законе основных обязанностей органов управления</a:t>
            </a:r>
          </a:p>
        </p:txBody>
      </p:sp>
      <p:sp>
        <p:nvSpPr>
          <p:cNvPr id="46" name="Выноска-облако 45"/>
          <p:cNvSpPr/>
          <p:nvPr/>
        </p:nvSpPr>
        <p:spPr>
          <a:xfrm flipH="1">
            <a:off x="624478" y="2395838"/>
            <a:ext cx="2876336" cy="647360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Проблема освобождения от должности или увольнения руководителя органа управлен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3597" y="537855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Выноска-облако 24"/>
          <p:cNvSpPr/>
          <p:nvPr/>
        </p:nvSpPr>
        <p:spPr>
          <a:xfrm flipH="1">
            <a:off x="3138498" y="850036"/>
            <a:ext cx="2498558" cy="583264"/>
          </a:xfrm>
          <a:prstGeom prst="cloudCallou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50" b="1" dirty="0" smtClean="0">
                <a:solidFill>
                  <a:schemeClr val="tx2"/>
                </a:solidFill>
                <a:latin typeface="отArial"/>
                <a:cs typeface="Arial" panose="020B0604020202020204" pitchFamily="34" charset="0"/>
              </a:rPr>
              <a:t>Отсутствие регистрации объекта кондоминиума</a:t>
            </a:r>
            <a:endParaRPr lang="ru-RU" sz="750" b="1" dirty="0">
              <a:solidFill>
                <a:schemeClr val="tx2"/>
              </a:solidFill>
              <a:latin typeface="отArial"/>
              <a:cs typeface="Arial" panose="020B0604020202020204" pitchFamily="34" charset="0"/>
            </a:endParaRPr>
          </a:p>
        </p:txBody>
      </p:sp>
      <p:sp>
        <p:nvSpPr>
          <p:cNvPr id="2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2830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290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3"/>
          <p:cNvSpPr>
            <a:spLocks noChangeArrowheads="1"/>
          </p:cNvSpPr>
          <p:nvPr/>
        </p:nvSpPr>
        <p:spPr bwMode="auto">
          <a:xfrm>
            <a:off x="4403743" y="2842035"/>
            <a:ext cx="608445" cy="360349"/>
          </a:xfrm>
          <a:prstGeom prst="homePlate">
            <a:avLst>
              <a:gd name="adj" fmla="val 65891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4436059" y="3573296"/>
            <a:ext cx="570250" cy="360349"/>
          </a:xfrm>
          <a:prstGeom prst="homePlate">
            <a:avLst>
              <a:gd name="adj" fmla="val 68454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AutoShape 3"/>
          <p:cNvSpPr>
            <a:spLocks noChangeArrowheads="1"/>
          </p:cNvSpPr>
          <p:nvPr/>
        </p:nvSpPr>
        <p:spPr bwMode="auto">
          <a:xfrm>
            <a:off x="4406499" y="4730298"/>
            <a:ext cx="615880" cy="383092"/>
          </a:xfrm>
          <a:prstGeom prst="homePlate">
            <a:avLst>
              <a:gd name="adj" fmla="val 61982"/>
            </a:avLst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AutoShape 3"/>
          <p:cNvSpPr>
            <a:spLocks noChangeArrowheads="1"/>
          </p:cNvSpPr>
          <p:nvPr/>
        </p:nvSpPr>
        <p:spPr bwMode="auto">
          <a:xfrm>
            <a:off x="4433172" y="5121313"/>
            <a:ext cx="589207" cy="484983"/>
          </a:xfrm>
          <a:prstGeom prst="homePlate">
            <a:avLst>
              <a:gd name="adj" fmla="val 48894"/>
            </a:avLst>
          </a:prstGeom>
          <a:solidFill>
            <a:schemeClr val="accent6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AutoShape 3"/>
          <p:cNvSpPr>
            <a:spLocks noChangeArrowheads="1"/>
          </p:cNvSpPr>
          <p:nvPr/>
        </p:nvSpPr>
        <p:spPr bwMode="auto">
          <a:xfrm>
            <a:off x="4423328" y="1645999"/>
            <a:ext cx="616653" cy="389458"/>
          </a:xfrm>
          <a:prstGeom prst="homePlate">
            <a:avLst>
              <a:gd name="adj" fmla="val 67041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А++</a:t>
            </a:r>
          </a:p>
        </p:txBody>
      </p:sp>
      <p:cxnSp>
        <p:nvCxnSpPr>
          <p:cNvPr id="25" name="Прямая со стрелкой 24"/>
          <p:cNvCxnSpPr/>
          <p:nvPr/>
        </p:nvCxnSpPr>
        <p:spPr>
          <a:xfrm flipH="1" flipV="1">
            <a:off x="4404467" y="1111436"/>
            <a:ext cx="7348" cy="4514669"/>
          </a:xfrm>
          <a:prstGeom prst="straightConnector1">
            <a:avLst/>
          </a:prstGeom>
          <a:ln w="57150"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endCxn id="104" idx="2"/>
          </p:cNvCxnSpPr>
          <p:nvPr/>
        </p:nvCxnSpPr>
        <p:spPr>
          <a:xfrm flipV="1">
            <a:off x="4460839" y="5105753"/>
            <a:ext cx="2306030" cy="162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1035" idx="0"/>
          </p:cNvCxnSpPr>
          <p:nvPr/>
        </p:nvCxnSpPr>
        <p:spPr>
          <a:xfrm flipV="1">
            <a:off x="4423330" y="1647499"/>
            <a:ext cx="2334119" cy="15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endCxn id="105" idx="2"/>
          </p:cNvCxnSpPr>
          <p:nvPr/>
        </p:nvCxnSpPr>
        <p:spPr>
          <a:xfrm>
            <a:off x="4427788" y="5616916"/>
            <a:ext cx="2349971" cy="91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412857" y="3562374"/>
            <a:ext cx="616653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С+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4467729" y="5203112"/>
            <a:ext cx="306165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Е</a:t>
            </a:r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4462866" y="4710157"/>
            <a:ext cx="306165" cy="354535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en-US" dirty="0"/>
              <a:t>D</a:t>
            </a:r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4427788" y="2814205"/>
            <a:ext cx="398294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В+</a:t>
            </a:r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4442157" y="724292"/>
            <a:ext cx="4396626" cy="354535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pPr algn="ctr"/>
            <a:r>
              <a:rPr lang="kk-KZ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ласс </a:t>
            </a:r>
            <a:r>
              <a:rPr lang="kk-KZ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энергоэффективности МЖД</a:t>
            </a:r>
          </a:p>
        </p:txBody>
      </p:sp>
      <p:sp>
        <p:nvSpPr>
          <p:cNvPr id="75" name="AutoShape 3"/>
          <p:cNvSpPr>
            <a:spLocks noChangeArrowheads="1"/>
          </p:cNvSpPr>
          <p:nvPr/>
        </p:nvSpPr>
        <p:spPr bwMode="auto">
          <a:xfrm>
            <a:off x="4423330" y="2041935"/>
            <a:ext cx="616652" cy="397016"/>
          </a:xfrm>
          <a:prstGeom prst="homePlate">
            <a:avLst>
              <a:gd name="adj" fmla="val 65332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6" name="TextBox 75"/>
          <p:cNvSpPr txBox="1"/>
          <p:nvPr/>
        </p:nvSpPr>
        <p:spPr>
          <a:xfrm>
            <a:off x="4405273" y="1988329"/>
            <a:ext cx="823588" cy="354487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А+</a:t>
            </a:r>
            <a:endParaRPr lang="ru-RU" dirty="0"/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>
            <a:off x="4429456" y="2831431"/>
            <a:ext cx="2468005" cy="6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5" name="Правая фигурная скобка 1034"/>
          <p:cNvSpPr/>
          <p:nvPr/>
        </p:nvSpPr>
        <p:spPr>
          <a:xfrm>
            <a:off x="6757449" y="1647499"/>
            <a:ext cx="363534" cy="11825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40" name="TextBox 1039"/>
          <p:cNvSpPr txBox="1"/>
          <p:nvPr/>
        </p:nvSpPr>
        <p:spPr>
          <a:xfrm>
            <a:off x="7081286" y="1951715"/>
            <a:ext cx="1697393" cy="631438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ая                    ( ниже 15 и до 90 кВт/кв.м.)</a:t>
            </a:r>
          </a:p>
        </p:txBody>
      </p:sp>
      <p:sp>
        <p:nvSpPr>
          <p:cNvPr id="87" name="AutoShape 3"/>
          <p:cNvSpPr>
            <a:spLocks noChangeArrowheads="1"/>
          </p:cNvSpPr>
          <p:nvPr/>
        </p:nvSpPr>
        <p:spPr bwMode="auto">
          <a:xfrm>
            <a:off x="4411815" y="2439686"/>
            <a:ext cx="618738" cy="405665"/>
          </a:xfrm>
          <a:prstGeom prst="homePlate">
            <a:avLst>
              <a:gd name="adj" fmla="val 63055"/>
            </a:avLst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А</a:t>
            </a:r>
          </a:p>
        </p:txBody>
      </p:sp>
      <p:sp>
        <p:nvSpPr>
          <p:cNvPr id="90" name="AutoShape 3"/>
          <p:cNvSpPr>
            <a:spLocks noChangeArrowheads="1"/>
          </p:cNvSpPr>
          <p:nvPr/>
        </p:nvSpPr>
        <p:spPr bwMode="auto">
          <a:xfrm>
            <a:off x="4434001" y="3217207"/>
            <a:ext cx="560875" cy="360349"/>
          </a:xfrm>
          <a:prstGeom prst="homePlate">
            <a:avLst>
              <a:gd name="adj" fmla="val 60765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2" name="TextBox 91"/>
          <p:cNvSpPr txBox="1"/>
          <p:nvPr/>
        </p:nvSpPr>
        <p:spPr>
          <a:xfrm>
            <a:off x="4439781" y="3236804"/>
            <a:ext cx="472759" cy="354487"/>
          </a:xfrm>
          <a:prstGeom prst="rect">
            <a:avLst/>
          </a:prstGeom>
          <a:noFill/>
          <a:ln>
            <a:noFill/>
          </a:ln>
        </p:spPr>
        <p:txBody>
          <a:bodyPr wrap="square" lIns="76787" tIns="38393" rIns="76787" bIns="38393" rtlCol="0">
            <a:spAutoFit/>
          </a:bodyPr>
          <a:lstStyle/>
          <a:p>
            <a:r>
              <a:rPr lang="kk-KZ" dirty="0"/>
              <a:t>В</a:t>
            </a:r>
            <a:endParaRPr lang="ru-RU" dirty="0"/>
          </a:p>
        </p:txBody>
      </p:sp>
      <p:cxnSp>
        <p:nvCxnSpPr>
          <p:cNvPr id="93" name="Прямая соединительная линия 92"/>
          <p:cNvCxnSpPr>
            <a:endCxn id="100" idx="0"/>
          </p:cNvCxnSpPr>
          <p:nvPr/>
        </p:nvCxnSpPr>
        <p:spPr>
          <a:xfrm>
            <a:off x="4456151" y="3585518"/>
            <a:ext cx="2325043" cy="117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Правая фигурная скобка 93"/>
          <p:cNvSpPr/>
          <p:nvPr/>
        </p:nvSpPr>
        <p:spPr>
          <a:xfrm>
            <a:off x="6766180" y="2830097"/>
            <a:ext cx="322740" cy="76119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95" name="TextBox 94"/>
          <p:cNvSpPr txBox="1"/>
          <p:nvPr/>
        </p:nvSpPr>
        <p:spPr>
          <a:xfrm>
            <a:off x="7139987" y="3027061"/>
            <a:ext cx="1337603" cy="631438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(от 90 до 120 кВт/</a:t>
            </a:r>
            <a:r>
              <a:rPr lang="ru-RU" sz="12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sp>
        <p:nvSpPr>
          <p:cNvPr id="96" name="AutoShape 3"/>
          <p:cNvSpPr>
            <a:spLocks noChangeArrowheads="1"/>
          </p:cNvSpPr>
          <p:nvPr/>
        </p:nvSpPr>
        <p:spPr bwMode="auto">
          <a:xfrm>
            <a:off x="4428943" y="3944208"/>
            <a:ext cx="610524" cy="360349"/>
          </a:xfrm>
          <a:prstGeom prst="homePlate">
            <a:avLst>
              <a:gd name="adj" fmla="val 8127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С</a:t>
            </a:r>
          </a:p>
        </p:txBody>
      </p:sp>
      <p:sp>
        <p:nvSpPr>
          <p:cNvPr id="97" name="AutoShape 3"/>
          <p:cNvSpPr>
            <a:spLocks noChangeArrowheads="1"/>
          </p:cNvSpPr>
          <p:nvPr/>
        </p:nvSpPr>
        <p:spPr bwMode="auto">
          <a:xfrm>
            <a:off x="4436059" y="4298695"/>
            <a:ext cx="596591" cy="423680"/>
          </a:xfrm>
          <a:prstGeom prst="homePlate">
            <a:avLst>
              <a:gd name="adj" fmla="val 6383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76787" tIns="38393" rIns="76787" bIns="38393" numCol="1" anchor="t" anchorCtr="0" compatLnSpc="1">
            <a:prstTxWarp prst="textNoShape">
              <a:avLst/>
            </a:prstTxWarp>
          </a:bodyPr>
          <a:lstStyle/>
          <a:p>
            <a:r>
              <a:rPr lang="ru-RU" dirty="0"/>
              <a:t>С -</a:t>
            </a:r>
          </a:p>
        </p:txBody>
      </p:sp>
      <p:cxnSp>
        <p:nvCxnSpPr>
          <p:cNvPr id="99" name="Прямая соединительная линия 98"/>
          <p:cNvCxnSpPr>
            <a:endCxn id="100" idx="2"/>
          </p:cNvCxnSpPr>
          <p:nvPr/>
        </p:nvCxnSpPr>
        <p:spPr>
          <a:xfrm flipV="1">
            <a:off x="4376862" y="4730297"/>
            <a:ext cx="2404332" cy="13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Правая фигурная скобка 99"/>
          <p:cNvSpPr/>
          <p:nvPr/>
        </p:nvSpPr>
        <p:spPr>
          <a:xfrm>
            <a:off x="6781194" y="3597274"/>
            <a:ext cx="294683" cy="113302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1" name="TextBox 100"/>
          <p:cNvSpPr txBox="1"/>
          <p:nvPr/>
        </p:nvSpPr>
        <p:spPr>
          <a:xfrm>
            <a:off x="7095322" y="3949619"/>
            <a:ext cx="1541964" cy="631438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льный (от 120 до 225 кВт/</a:t>
            </a:r>
            <a:r>
              <a:rPr lang="ru-RU" sz="12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sp>
        <p:nvSpPr>
          <p:cNvPr id="104" name="Правая фигурная скобка 103"/>
          <p:cNvSpPr/>
          <p:nvPr/>
        </p:nvSpPr>
        <p:spPr>
          <a:xfrm>
            <a:off x="6766869" y="4730296"/>
            <a:ext cx="302971" cy="37545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5" name="Правая фигурная скобка 104"/>
          <p:cNvSpPr/>
          <p:nvPr/>
        </p:nvSpPr>
        <p:spPr>
          <a:xfrm>
            <a:off x="6777759" y="5105916"/>
            <a:ext cx="294683" cy="5201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787" tIns="38393" rIns="76787" bIns="38393" rtlCol="0" anchor="ctr"/>
          <a:lstStyle/>
          <a:p>
            <a:pPr algn="ctr"/>
            <a:endParaRPr lang="ru-RU"/>
          </a:p>
        </p:txBody>
      </p:sp>
      <p:sp>
        <p:nvSpPr>
          <p:cNvPr id="106" name="TextBox 105"/>
          <p:cNvSpPr txBox="1"/>
          <p:nvPr/>
        </p:nvSpPr>
        <p:spPr>
          <a:xfrm>
            <a:off x="7090526" y="4669655"/>
            <a:ext cx="1754245" cy="44680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енный (от 225 до 270 кВт/</a:t>
            </a:r>
            <a:r>
              <a:rPr lang="ru-RU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7118592" y="5196973"/>
            <a:ext cx="1639529" cy="446804"/>
          </a:xfrm>
          <a:prstGeom prst="rect">
            <a:avLst/>
          </a:prstGeom>
          <a:noFill/>
        </p:spPr>
        <p:txBody>
          <a:bodyPr wrap="square" lIns="76787" tIns="38393" rIns="76787" bIns="38393" rtlCol="0">
            <a:spAutoFit/>
          </a:bodyPr>
          <a:lstStyle/>
          <a:p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( ниже 270 кВт/</a:t>
            </a:r>
            <a:r>
              <a:rPr lang="ru-RU" sz="1200" b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.м</a:t>
            </a: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4562434" y="1060940"/>
            <a:ext cx="4031874" cy="446868"/>
          </a:xfrm>
          <a:prstGeom prst="rect">
            <a:avLst/>
          </a:prstGeom>
        </p:spPr>
        <p:txBody>
          <a:bodyPr wrap="square" lIns="76787" tIns="38393" rIns="76787" bIns="38393">
            <a:spAutoFit/>
          </a:bodyPr>
          <a:lstStyle/>
          <a:p>
            <a:pPr algn="ctr"/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проектировании и эксплуатации новых и реконструируемых зданий (А, В, С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19476" y="4722074"/>
            <a:ext cx="1695560" cy="400701"/>
          </a:xfrm>
          <a:prstGeom prst="rect">
            <a:avLst/>
          </a:prstGeom>
        </p:spPr>
        <p:txBody>
          <a:bodyPr wrap="none" lIns="76787" tIns="38393" rIns="76787" bIns="38393">
            <a:spAutoFit/>
          </a:bodyPr>
          <a:lstStyle/>
          <a:p>
            <a:r>
              <a:rPr lang="ru-RU" sz="105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эксплуатации </a:t>
            </a:r>
            <a:endParaRPr lang="en-US" sz="105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уществующих </a:t>
            </a:r>
            <a:r>
              <a:rPr lang="ru-RU" sz="105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даний</a:t>
            </a:r>
            <a:endParaRPr lang="ru-RU" sz="105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115647" y="5167334"/>
            <a:ext cx="1695560" cy="400701"/>
          </a:xfrm>
          <a:prstGeom prst="rect">
            <a:avLst/>
          </a:prstGeom>
        </p:spPr>
        <p:txBody>
          <a:bodyPr wrap="none" lIns="76787" tIns="38393" rIns="76787" bIns="38393">
            <a:spAutoFit/>
          </a:bodyPr>
          <a:lstStyle/>
          <a:p>
            <a:r>
              <a:rPr lang="ru-RU" sz="105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эксплуатации </a:t>
            </a:r>
            <a:endParaRPr lang="en-US" sz="1050" b="1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r>
              <a:rPr lang="ru-RU" sz="105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уществующих </a:t>
            </a:r>
            <a:r>
              <a:rPr lang="ru-RU" sz="105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даний</a:t>
            </a:r>
            <a:endParaRPr lang="ru-RU" sz="105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208" y="38952"/>
            <a:ext cx="838305" cy="514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Номер слайда 55"/>
          <p:cNvSpPr>
            <a:spLocks noGrp="1"/>
          </p:cNvSpPr>
          <p:nvPr>
            <p:ph type="sldNum" sz="quarter" idx="12"/>
          </p:nvPr>
        </p:nvSpPr>
        <p:spPr>
          <a:xfrm>
            <a:off x="7086601" y="6490925"/>
            <a:ext cx="2057400" cy="364893"/>
          </a:xfrm>
        </p:spPr>
        <p:txBody>
          <a:bodyPr vert="horz" lIns="91440" tIns="45720" rIns="91440" bIns="45720" rtlCol="0" anchor="ctr"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H="1">
            <a:off x="4139966" y="828247"/>
            <a:ext cx="3887" cy="494807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5"/>
          <p:cNvSpPr txBox="1">
            <a:spLocks noChangeArrowheads="1"/>
          </p:cNvSpPr>
          <p:nvPr/>
        </p:nvSpPr>
        <p:spPr bwMode="auto">
          <a:xfrm>
            <a:off x="838305" y="44624"/>
            <a:ext cx="8136904" cy="63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ИЗКАЯ ЭНЕРГОЭФФЕКТИВНОСТЬ – КАК СЛЕДСТВИЕ ОТСУТСТВИЯ КАПИТАЛЬНОГО РЕМОНТА 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-8773" y="625862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Овал 56"/>
          <p:cNvSpPr/>
          <p:nvPr/>
        </p:nvSpPr>
        <p:spPr>
          <a:xfrm>
            <a:off x="4302672" y="4487180"/>
            <a:ext cx="2837315" cy="136942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250742" y="712718"/>
            <a:ext cx="361029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u="sng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татья 31 Закон РК «О жилищных отношениях»</a:t>
            </a:r>
          </a:p>
          <a:p>
            <a:pPr algn="just"/>
            <a:r>
              <a:rPr lang="ru-RU" sz="1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бственники помещений (квартир) </a:t>
            </a:r>
            <a:r>
              <a:rPr lang="ru-RU" sz="1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обязаны ежемесячно вносить на сберегательный счет 0,02-кратного МРП за 1 м2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71" name="Равнобедренный треугольник 70"/>
          <p:cNvSpPr/>
          <p:nvPr/>
        </p:nvSpPr>
        <p:spPr>
          <a:xfrm rot="10800000">
            <a:off x="260614" y="2208061"/>
            <a:ext cx="3546831" cy="422764"/>
          </a:xfrm>
          <a:prstGeom prst="triangle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260614" y="2753754"/>
            <a:ext cx="3562772" cy="58571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бственники квартир не заинтересованы в накоплении средств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260614" y="3444889"/>
            <a:ext cx="3535298" cy="5556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сутствие открытия сберегательного счета на каждый МЖД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249081" y="4123478"/>
            <a:ext cx="3574306" cy="10222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сутствие гарантии сохранности денежных средств от отчуждения третьими лицами (арест счета, несанкционированное снятие) </a:t>
            </a: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249081" y="5245659"/>
            <a:ext cx="3546832" cy="9162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сутствие мер ответственности для собственников квартир  за не внесение взносов на сберегательный счет 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198977" y="2212718"/>
            <a:ext cx="1825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Текущая ситуация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399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право 3"/>
          <p:cNvSpPr/>
          <p:nvPr/>
        </p:nvSpPr>
        <p:spPr>
          <a:xfrm rot="5400000">
            <a:off x="2670076" y="2533751"/>
            <a:ext cx="295275" cy="523875"/>
          </a:xfrm>
          <a:prstGeom prst="righ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619672" y="1754813"/>
            <a:ext cx="2376264" cy="90553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оператив собственников Квартир/Управляющая компани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42" name="TextBox 34"/>
          <p:cNvSpPr txBox="1">
            <a:spLocks noChangeArrowheads="1"/>
          </p:cNvSpPr>
          <p:nvPr/>
        </p:nvSpPr>
        <p:spPr bwMode="auto">
          <a:xfrm>
            <a:off x="1668612" y="2936083"/>
            <a:ext cx="24713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cs typeface="Arial" pitchFamily="34" charset="0"/>
              </a:rPr>
              <a:t>Договор сервисного обслуживания </a:t>
            </a:r>
          </a:p>
        </p:txBody>
      </p:sp>
      <p:sp>
        <p:nvSpPr>
          <p:cNvPr id="61" name="Прямоугольник 60"/>
          <p:cNvSpPr/>
          <p:nvPr/>
        </p:nvSpPr>
        <p:spPr>
          <a:xfrm flipH="1">
            <a:off x="1717650" y="3935474"/>
            <a:ext cx="46038" cy="122171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3563888" y="3593410"/>
            <a:ext cx="72008" cy="6395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771800" y="3744962"/>
            <a:ext cx="82550" cy="6921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>
              <a:solidFill>
                <a:schemeClr val="bg1"/>
              </a:solidFill>
            </a:endParaRPr>
          </a:p>
        </p:txBody>
      </p:sp>
      <p:sp>
        <p:nvSpPr>
          <p:cNvPr id="64" name="Прямоугольник с двумя вырезанными противолежащими углами 63"/>
          <p:cNvSpPr/>
          <p:nvPr/>
        </p:nvSpPr>
        <p:spPr>
          <a:xfrm>
            <a:off x="492100" y="4226223"/>
            <a:ext cx="1271588" cy="642937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ЛИНИНГОВЫЕ УСЛУГИ</a:t>
            </a:r>
          </a:p>
        </p:txBody>
      </p:sp>
      <p:sp>
        <p:nvSpPr>
          <p:cNvPr id="65" name="Прямоугольник с двумя вырезанными противолежащими углами 64"/>
          <p:cNvSpPr/>
          <p:nvPr/>
        </p:nvSpPr>
        <p:spPr>
          <a:xfrm>
            <a:off x="1835696" y="4364194"/>
            <a:ext cx="1512168" cy="792998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СЛУГИ ПО РЕМОНТУ И СОДЕРЖАНИЮ ИНЖЕНЕРНЫХ СИСТЕМ</a:t>
            </a:r>
          </a:p>
        </p:txBody>
      </p:sp>
      <p:sp>
        <p:nvSpPr>
          <p:cNvPr id="66" name="Прямоугольник с двумя вырезанными противолежащими углами 65"/>
          <p:cNvSpPr/>
          <p:nvPr/>
        </p:nvSpPr>
        <p:spPr>
          <a:xfrm>
            <a:off x="3419872" y="4232942"/>
            <a:ext cx="1512168" cy="1212282"/>
          </a:xfrm>
          <a:prstGeom prst="snip2DiagRect">
            <a:avLst/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ДОСТАВЛЕНИЕ ИНЖИНИРИНГОВЫХ УСЛУГ ПО ЭНЕРГОСБЕРЕГАЮЩИМ МЕРОПРИЯТИЯМ </a:t>
            </a:r>
          </a:p>
        </p:txBody>
      </p:sp>
      <p:sp>
        <p:nvSpPr>
          <p:cNvPr id="67" name="Прямоугольник с двумя вырезанными противолежащими углами 66"/>
          <p:cNvSpPr/>
          <p:nvPr/>
        </p:nvSpPr>
        <p:spPr>
          <a:xfrm>
            <a:off x="637530" y="5088037"/>
            <a:ext cx="1126158" cy="357187"/>
          </a:xfrm>
          <a:prstGeom prst="snip2Diag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ВАРИЙНЫЕ  СЛУЖБЫ</a:t>
            </a:r>
            <a:endParaRPr lang="ru-RU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1619672" y="3349771"/>
            <a:ext cx="2304256" cy="58570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ЕРВИСНАЯ КОМПАНИЯ</a:t>
            </a:r>
          </a:p>
        </p:txBody>
      </p:sp>
      <p:sp>
        <p:nvSpPr>
          <p:cNvPr id="22556" name="TextBox 6"/>
          <p:cNvSpPr txBox="1">
            <a:spLocks noChangeArrowheads="1"/>
          </p:cNvSpPr>
          <p:nvPr/>
        </p:nvSpPr>
        <p:spPr bwMode="auto">
          <a:xfrm>
            <a:off x="492100" y="5898589"/>
            <a:ext cx="83188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: НА ПРАКТИКЕ ФАКТИЧЕСКИ РАЗДЕЛЕНИЙ ФУНКЦИЙ  УПРАВЛЕНИЯ И СОДЕРЖАНИЯ НЕ ОСУЩЕСТВЛЯЕТСЯ 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Стрелка влево 1"/>
          <p:cNvSpPr/>
          <p:nvPr/>
        </p:nvSpPr>
        <p:spPr>
          <a:xfrm flipH="1">
            <a:off x="7632340" y="2295225"/>
            <a:ext cx="588416" cy="413695"/>
          </a:xfrm>
          <a:prstGeom prst="left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4938" y="1966355"/>
            <a:ext cx="11526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ункции управления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Стрелка влево 37"/>
          <p:cNvSpPr/>
          <p:nvPr/>
        </p:nvSpPr>
        <p:spPr>
          <a:xfrm>
            <a:off x="1286160" y="3478676"/>
            <a:ext cx="333512" cy="382372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TextBox 39"/>
          <p:cNvSpPr txBox="1"/>
          <p:nvPr/>
        </p:nvSpPr>
        <p:spPr>
          <a:xfrm>
            <a:off x="-63152" y="3451511"/>
            <a:ext cx="12967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ункции обслуживания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975592" y="101020"/>
            <a:ext cx="8136904" cy="631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6787" tIns="38393" rIns="76787" bIns="38393">
            <a:spAutoFit/>
          </a:bodyPr>
          <a:lstStyle/>
          <a:p>
            <a:pPr algn="ctr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ХЕМА ВЗАИМОДЕЙСТВИЯ КСК </a:t>
            </a:r>
          </a:p>
          <a:p>
            <a:pPr algn="ctr"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 СУБЪЕКТАМИ СЕРВИСНОЙ ДЕЯТЕЛЬНОСТИ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7613" y="2184"/>
            <a:ext cx="985665" cy="5568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 flipH="1">
            <a:off x="5050086" y="1109306"/>
            <a:ext cx="25970" cy="4450212"/>
          </a:xfrm>
          <a:prstGeom prst="line">
            <a:avLst/>
          </a:prstGeom>
          <a:ln w="28575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/>
        </p:nvSpPr>
        <p:spPr>
          <a:xfrm>
            <a:off x="5364088" y="1855413"/>
            <a:ext cx="2376264" cy="128452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оператив собственников Квартир/Управляющая компания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112744" y="2204864"/>
            <a:ext cx="113977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ункции управления и содержания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Стрелка влево 27"/>
          <p:cNvSpPr/>
          <p:nvPr/>
        </p:nvSpPr>
        <p:spPr>
          <a:xfrm>
            <a:off x="1257685" y="1988840"/>
            <a:ext cx="361987" cy="382372"/>
          </a:xfrm>
          <a:prstGeom prst="left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5796136" y="3174989"/>
            <a:ext cx="288032" cy="542043"/>
          </a:xfrm>
          <a:prstGeom prst="down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верх 12"/>
          <p:cNvSpPr/>
          <p:nvPr/>
        </p:nvSpPr>
        <p:spPr>
          <a:xfrm>
            <a:off x="7144890" y="3174988"/>
            <a:ext cx="281460" cy="542043"/>
          </a:xfrm>
          <a:prstGeom prst="up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148064" y="3752084"/>
            <a:ext cx="3168352" cy="1261092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с двумя вырезанными противолежащими углами 66"/>
          <p:cNvSpPr/>
          <p:nvPr/>
        </p:nvSpPr>
        <p:spPr>
          <a:xfrm>
            <a:off x="5353976" y="4175053"/>
            <a:ext cx="874208" cy="357187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АНТЕХНИК</a:t>
            </a:r>
            <a:endParaRPr 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Прямоугольник с двумя вырезанными противолежащими углами 66"/>
          <p:cNvSpPr/>
          <p:nvPr/>
        </p:nvSpPr>
        <p:spPr>
          <a:xfrm>
            <a:off x="6372043" y="4176100"/>
            <a:ext cx="792245" cy="357187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ВОРНИК</a:t>
            </a:r>
            <a:endParaRPr 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Прямоугольник с двумя вырезанными противолежащими углами 66"/>
          <p:cNvSpPr/>
          <p:nvPr/>
        </p:nvSpPr>
        <p:spPr>
          <a:xfrm>
            <a:off x="7308304" y="4192233"/>
            <a:ext cx="792088" cy="345476"/>
          </a:xfrm>
          <a:prstGeom prst="snip2Diag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ХНИЧКА</a:t>
            </a:r>
            <a:endParaRPr lang="ru-RU" sz="8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156176" y="3271149"/>
            <a:ext cx="936104" cy="4458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ШТАТЕ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СК</a:t>
            </a:r>
            <a:endParaRPr lang="ru-RU" sz="1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23577" y="1095013"/>
            <a:ext cx="4609778" cy="3754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ПРЕ"/>
                <a:cs typeface="Arial" panose="020B0604020202020204" pitchFamily="34" charset="0"/>
              </a:rPr>
              <a:t>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ПРЕ"/>
                <a:cs typeface="Arial" panose="020B0604020202020204" pitchFamily="34" charset="0"/>
              </a:rPr>
              <a:t>ЗАКОНОДАТЕЛЬСТВОМ: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ПРЕ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277589" y="1109306"/>
            <a:ext cx="3393530" cy="37547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ИЧЕСКИ:</a:t>
            </a:r>
            <a:endParaRPr lang="ru-RU" sz="16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0220" y="6486797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4938" y="759806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504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/>
          <p:cNvSpPr txBox="1"/>
          <p:nvPr/>
        </p:nvSpPr>
        <p:spPr>
          <a:xfrm>
            <a:off x="441067" y="3702118"/>
            <a:ext cx="7979778" cy="33855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ПРАВЛЯЮЩАЯ (СЕРВИСНАЯ) КОМПАНИЯ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115616" y="3068960"/>
            <a:ext cx="66984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ают договоры на управление</a:t>
            </a:r>
            <a:endParaRPr lang="en-US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056718" y="5013176"/>
            <a:ext cx="7364127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 мероприятия по содержанию дома и проведению текущего ремонта собственными силам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64628" y="5749053"/>
            <a:ext cx="7356217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нимает  </a:t>
            </a:r>
          </a:p>
          <a:p>
            <a:pPr algn="ctr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ные организации для проведения текущего ремонта   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291012" y="4239193"/>
            <a:ext cx="4320480" cy="50783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Свой персонал;</a:t>
            </a:r>
          </a:p>
          <a:p>
            <a:pPr algn="ctr"/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- Своя материально-техническая база. </a:t>
            </a: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27" y="-24"/>
            <a:ext cx="850797" cy="40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TextBox 45"/>
          <p:cNvSpPr txBox="1"/>
          <p:nvPr/>
        </p:nvSpPr>
        <p:spPr>
          <a:xfrm>
            <a:off x="1331640" y="-17863"/>
            <a:ext cx="7643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b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/>
              <a:t>МЕЖДУНАРОДНЫЙ ОПЫТ  УПРАВЛЕНИЯ МНОГОКВАРТИРНЫМИ ЖИЛЫМИ ДОМАМИ В </a:t>
            </a:r>
            <a:r>
              <a:rPr lang="ru-RU" dirty="0" smtClean="0"/>
              <a:t>ЕВРОПЕЙСКИХ СТРАНАХ</a:t>
            </a:r>
            <a:endParaRPr lang="ru-RU" dirty="0"/>
          </a:p>
        </p:txBody>
      </p:sp>
      <p:pic>
        <p:nvPicPr>
          <p:cNvPr id="64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93266" y="764704"/>
            <a:ext cx="1214438" cy="1214438"/>
          </a:xfrm>
          <a:prstGeom prst="rect">
            <a:avLst/>
          </a:prstGeom>
          <a:noFill/>
        </p:spPr>
      </p:pic>
      <p:pic>
        <p:nvPicPr>
          <p:cNvPr id="65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53506" y="764704"/>
            <a:ext cx="1214438" cy="1214438"/>
          </a:xfrm>
          <a:prstGeom prst="rect">
            <a:avLst/>
          </a:prstGeom>
          <a:noFill/>
        </p:spPr>
      </p:pic>
      <p:pic>
        <p:nvPicPr>
          <p:cNvPr id="66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41738" y="774402"/>
            <a:ext cx="1273336" cy="1214438"/>
          </a:xfrm>
          <a:prstGeom prst="rect">
            <a:avLst/>
          </a:prstGeom>
          <a:noFill/>
        </p:spPr>
      </p:pic>
      <p:pic>
        <p:nvPicPr>
          <p:cNvPr id="68" name="Picture 2" descr="D:\Мои документы\images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29970" y="785794"/>
            <a:ext cx="1214438" cy="1214438"/>
          </a:xfrm>
          <a:prstGeom prst="rect">
            <a:avLst/>
          </a:prstGeom>
          <a:noFill/>
        </p:spPr>
      </p:pic>
      <p:sp>
        <p:nvSpPr>
          <p:cNvPr id="69" name="Прямоугольник 68"/>
          <p:cNvSpPr/>
          <p:nvPr/>
        </p:nvSpPr>
        <p:spPr>
          <a:xfrm>
            <a:off x="480654" y="1988840"/>
            <a:ext cx="1643074" cy="101276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ъединение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бственников квартир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– юридическое лицо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вет дома</a:t>
            </a:r>
          </a:p>
          <a:p>
            <a:pPr marL="171450" indent="-1714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чет в банк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2640894" y="1988840"/>
            <a:ext cx="1643074" cy="101276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0" algn="ctr">
              <a:defRPr/>
            </a:pP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ъединение собственников квартир – юридическое лицо</a:t>
            </a: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вет </a:t>
            </a: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ома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чет в банк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29126" y="1988840"/>
            <a:ext cx="1643074" cy="1003062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0" algn="ctr">
              <a:defRPr/>
            </a:pP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ъединение собственников квартир – юридическое лицо</a:t>
            </a: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вет </a:t>
            </a: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ома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чет в банк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817358" y="1988840"/>
            <a:ext cx="1643074" cy="991670"/>
          </a:xfrm>
          <a:prstGeom prst="rect">
            <a:avLst/>
          </a:prstGeom>
          <a:solidFill>
            <a:schemeClr val="bg1"/>
          </a:solidFill>
          <a:ln w="317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0" algn="ctr">
              <a:defRPr/>
            </a:pP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ъединение собственников квартир – юридическое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лицо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овет </a:t>
            </a:r>
            <a:r>
              <a:rPr lang="ru-RU" sz="10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ома</a:t>
            </a:r>
            <a:endParaRPr lang="ru-RU" sz="1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 algn="ctr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Счет в банк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010400" y="6484930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2843808" y="3356992"/>
            <a:ext cx="3156952" cy="28803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53671" y="3933056"/>
            <a:ext cx="0" cy="2073318"/>
          </a:xfrm>
          <a:prstGeom prst="line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>
            <a:endCxn id="55" idx="1"/>
          </p:cNvCxnSpPr>
          <p:nvPr/>
        </p:nvCxnSpPr>
        <p:spPr>
          <a:xfrm>
            <a:off x="441067" y="5274786"/>
            <a:ext cx="615651" cy="0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endCxn id="59" idx="1"/>
          </p:cNvCxnSpPr>
          <p:nvPr/>
        </p:nvCxnSpPr>
        <p:spPr>
          <a:xfrm>
            <a:off x="453671" y="6006374"/>
            <a:ext cx="610957" cy="4289"/>
          </a:xfrm>
          <a:prstGeom prst="straightConnector1">
            <a:avLst/>
          </a:prstGeom>
          <a:ln w="28575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0" y="603516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30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583008" y="171718"/>
            <a:ext cx="8353425" cy="282575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az-Cyrl-AZ" sz="18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ЕДИНАЯ ИНФОРМАЦИОННАЯ СИСТЕМА </a:t>
            </a:r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ДЛЯ ЖИЛИЩНОГО СЕКТОРА</a:t>
            </a:r>
            <a:endParaRPr lang="en-US" sz="18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2533" name="Picture 4" descr="C:\Users\Adilkhan\Desktop\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5966" y="667623"/>
            <a:ext cx="785813" cy="785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4" name="Picture 3" descr="C:\Users\Владелец\Desktop\38949262-Data-center-network-server-icon-vector-image-Can-also-be-used-for-communication-connection-technolog-Stock-Vecto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4563" y="2773363"/>
            <a:ext cx="1214437" cy="1214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5" name="TextBox 28"/>
          <p:cNvSpPr txBox="1">
            <a:spLocks noChangeArrowheads="1"/>
          </p:cNvSpPr>
          <p:nvPr/>
        </p:nvSpPr>
        <p:spPr bwMode="auto">
          <a:xfrm>
            <a:off x="1710009" y="3808511"/>
            <a:ext cx="295151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sz="1400" dirty="0" smtClean="0"/>
              <a:t>ИНФОРМАЦИОННАЯ СИСТЕМА</a:t>
            </a:r>
            <a:endParaRPr lang="ru-RU" sz="140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rot="10800000">
            <a:off x="2786063" y="1847065"/>
            <a:ext cx="2428875" cy="1587"/>
          </a:xfrm>
          <a:prstGeom prst="line">
            <a:avLst/>
          </a:prstGeom>
          <a:ln w="539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rot="10800000">
            <a:off x="3500438" y="3571875"/>
            <a:ext cx="1714500" cy="1588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rot="16200000" flipH="1">
            <a:off x="1948656" y="5047457"/>
            <a:ext cx="1763713" cy="0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4008115" y="1355163"/>
            <a:ext cx="1214437" cy="4619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ик квартир</a:t>
            </a:r>
          </a:p>
        </p:txBody>
      </p:sp>
      <p:sp>
        <p:nvSpPr>
          <p:cNvPr id="48" name="Прямоугольник 8"/>
          <p:cNvSpPr>
            <a:spLocks noChangeArrowheads="1"/>
          </p:cNvSpPr>
          <p:nvPr/>
        </p:nvSpPr>
        <p:spPr bwMode="auto">
          <a:xfrm>
            <a:off x="5286375" y="1253495"/>
            <a:ext cx="385762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§"/>
              <a:tabLst>
                <a:tab pos="180975" algn="l"/>
              </a:tabLst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лектронное 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лосование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мотр отчетности управляющей 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мотр текущих и сберегательных 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етов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работ управляющей </a:t>
            </a:r>
            <a:r>
              <a:rPr lang="ru-RU" altLang="ru-RU" sz="1200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  <a:endParaRPr lang="ru-RU" altLang="ru-RU" sz="1200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itchFamily="2" charset="2"/>
              <a:buChar char="§"/>
              <a:defRPr/>
            </a:pPr>
            <a:r>
              <a:rPr lang="ru-RU" altLang="ru-RU" sz="1200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е приложение (уведомления и т.д.)</a:t>
            </a:r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2780504" y="1847064"/>
            <a:ext cx="3971" cy="985036"/>
          </a:xfrm>
          <a:prstGeom prst="line">
            <a:avLst/>
          </a:prstGeom>
          <a:ln w="508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 rot="10800000">
            <a:off x="2857500" y="5927725"/>
            <a:ext cx="2428875" cy="1588"/>
          </a:xfrm>
          <a:prstGeom prst="line">
            <a:avLst/>
          </a:prstGeom>
          <a:ln w="539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43" name="Picture 5" descr="C:\Users\Владелец\Desktop\9729_kak_upravlyat_upravlyayuszei_kompaniei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813" y="2357438"/>
            <a:ext cx="769937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4000500" y="3071813"/>
            <a:ext cx="1285875" cy="4619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яющая компания</a:t>
            </a:r>
          </a:p>
        </p:txBody>
      </p:sp>
      <p:sp>
        <p:nvSpPr>
          <p:cNvPr id="22545" name="Прямоугольник 32"/>
          <p:cNvSpPr>
            <a:spLocks noChangeArrowheads="1"/>
          </p:cNvSpPr>
          <p:nvPr/>
        </p:nvSpPr>
        <p:spPr bwMode="auto">
          <a:xfrm>
            <a:off x="5295900" y="2536031"/>
            <a:ext cx="3803650" cy="1938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Итоги голосования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 Формирование списков собственников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Сведения о поступлении денежных средств за эксплуатационные сборы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Объявления о планируемых, проводимых и проведенных работах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Электронная подача заявок и предложений в Акиматы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Подача объявлении на закуп планируемых услуг и материалов</a:t>
            </a:r>
          </a:p>
        </p:txBody>
      </p:sp>
      <p:pic>
        <p:nvPicPr>
          <p:cNvPr id="22546" name="Picture 6" descr="C:\Users\Владелец\Desktop\index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628" y="4786313"/>
            <a:ext cx="63341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Прямоугольник 61"/>
          <p:cNvSpPr/>
          <p:nvPr/>
        </p:nvSpPr>
        <p:spPr>
          <a:xfrm>
            <a:off x="3995936" y="5395913"/>
            <a:ext cx="1285875" cy="46196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О, госорганы</a:t>
            </a:r>
          </a:p>
        </p:txBody>
      </p:sp>
      <p:sp>
        <p:nvSpPr>
          <p:cNvPr id="22548" name="Прямоугольник 9"/>
          <p:cNvSpPr>
            <a:spLocks noChangeArrowheads="1"/>
          </p:cNvSpPr>
          <p:nvPr/>
        </p:nvSpPr>
        <p:spPr bwMode="auto">
          <a:xfrm>
            <a:off x="5291138" y="4714875"/>
            <a:ext cx="3924300" cy="212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Отправка рассылок управляющим компаниям о планируемых совещаний, круглых столов, конференции 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Просмотр ситуационной карты по исполняющим заявкам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Актуальный список кондоминиумов в разрезе областей, городов, районов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Просмотр оценки со стороны населения</a:t>
            </a:r>
          </a:p>
          <a:p>
            <a:pPr eaLnBrk="1" hangingPunct="1">
              <a:buFont typeface="Wingdings" panose="05000000000000000000" pitchFamily="2" charset="2"/>
              <a:buChar char="§"/>
            </a:pPr>
            <a:r>
              <a:rPr lang="ru-RU" altLang="ru-RU" sz="1200">
                <a:solidFill>
                  <a:schemeClr val="accent1">
                    <a:lumMod val="50000"/>
                  </a:schemeClr>
                </a:solidFill>
              </a:rPr>
              <a:t>Просмотр отчетности и о проделанных работах управляющих компаний по капитальному ремонту</a:t>
            </a:r>
          </a:p>
        </p:txBody>
      </p:sp>
      <p:grpSp>
        <p:nvGrpSpPr>
          <p:cNvPr id="22549" name="Группа 39"/>
          <p:cNvGrpSpPr>
            <a:grpSpLocks/>
          </p:cNvGrpSpPr>
          <p:nvPr/>
        </p:nvGrpSpPr>
        <p:grpSpPr bwMode="auto">
          <a:xfrm>
            <a:off x="214313" y="1190625"/>
            <a:ext cx="1214437" cy="714375"/>
            <a:chOff x="7287991" y="1186313"/>
            <a:chExt cx="1436587" cy="807175"/>
          </a:xfrm>
        </p:grpSpPr>
        <p:pic>
          <p:nvPicPr>
            <p:cNvPr id="22563" name="Рисунок 40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7991" y="1186313"/>
              <a:ext cx="932370" cy="807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564" name="Рисунок 4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15441" y="1402080"/>
              <a:ext cx="1109137" cy="337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0" name="Прямоугольник 69"/>
          <p:cNvSpPr/>
          <p:nvPr/>
        </p:nvSpPr>
        <p:spPr>
          <a:xfrm>
            <a:off x="142875" y="1905000"/>
            <a:ext cx="1357313" cy="4619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ое Правительство</a:t>
            </a:r>
          </a:p>
        </p:txBody>
      </p:sp>
      <p:pic>
        <p:nvPicPr>
          <p:cNvPr id="22551" name="Picture 1" descr="I:\! WORK\For prezentations\Build\company3_256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2509838"/>
            <a:ext cx="817562" cy="817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142875" y="3295650"/>
            <a:ext cx="1357313" cy="276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БД (ФЛ, ЮЛ)</a:t>
            </a:r>
          </a:p>
        </p:txBody>
      </p:sp>
      <p:pic>
        <p:nvPicPr>
          <p:cNvPr id="22553" name="Picture 8" descr="C:\Users\Владелец\Desktop\w256h2561339398290SymbolWLAN5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5938" y="3152775"/>
            <a:ext cx="530225" cy="500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54" name="Picture 2" descr="C:\Users\anara.imanbayeva@nitec.kz\Desktop\bank-icon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3724275"/>
            <a:ext cx="714375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Прямоугольник 74"/>
          <p:cNvSpPr/>
          <p:nvPr/>
        </p:nvSpPr>
        <p:spPr>
          <a:xfrm>
            <a:off x="152400" y="4365625"/>
            <a:ext cx="1357313" cy="27781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ВУ</a:t>
            </a:r>
          </a:p>
        </p:txBody>
      </p:sp>
      <p:cxnSp>
        <p:nvCxnSpPr>
          <p:cNvPr id="78" name="Прямая соединительная линия 77"/>
          <p:cNvCxnSpPr/>
          <p:nvPr/>
        </p:nvCxnSpPr>
        <p:spPr>
          <a:xfrm rot="5400000">
            <a:off x="3969" y="3504407"/>
            <a:ext cx="3419475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 rot="10800000">
            <a:off x="1214438" y="1795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 rot="10800000">
            <a:off x="1214438" y="2938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rot="10800000">
            <a:off x="1214438" y="4152900"/>
            <a:ext cx="500062" cy="1588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560" name="Picture 10" descr="C:\Users\Владелец\Desktop\w256h2561390642694Cashregister2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4724400"/>
            <a:ext cx="719137" cy="719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Прямоугольник 89"/>
          <p:cNvSpPr/>
          <p:nvPr/>
        </p:nvSpPr>
        <p:spPr>
          <a:xfrm>
            <a:off x="214313" y="5438775"/>
            <a:ext cx="1357312" cy="2762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Ц</a:t>
            </a:r>
          </a:p>
        </p:txBody>
      </p:sp>
      <p:cxnSp>
        <p:nvCxnSpPr>
          <p:cNvPr id="91" name="Прямая соединительная линия 90"/>
          <p:cNvCxnSpPr/>
          <p:nvPr/>
        </p:nvCxnSpPr>
        <p:spPr>
          <a:xfrm rot="10800000">
            <a:off x="1214438" y="5224463"/>
            <a:ext cx="500062" cy="1587"/>
          </a:xfrm>
          <a:prstGeom prst="line">
            <a:avLst/>
          </a:prstGeom>
          <a:ln w="254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51" y="4440"/>
            <a:ext cx="582118" cy="572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0400" y="6500628"/>
            <a:ext cx="2133600" cy="365125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588" y="631191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816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6" name="Picture 1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2204864"/>
            <a:ext cx="2571768" cy="1604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8763" y="1988840"/>
            <a:ext cx="9135238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763" y="4149080"/>
            <a:ext cx="9142413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3707904" y="2827048"/>
            <a:ext cx="49046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28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051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47</TotalTime>
  <Words>750</Words>
  <Application>Microsoft Office PowerPoint</Application>
  <PresentationFormat>Экран (4:3)</PresentationFormat>
  <Paragraphs>151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6" baseType="lpstr">
      <vt:lpstr>Arial</vt:lpstr>
      <vt:lpstr>Calibri</vt:lpstr>
      <vt:lpstr>Times New Roman</vt:lpstr>
      <vt:lpstr>Wingdings</vt:lpstr>
      <vt:lpstr>отArial</vt:lpstr>
      <vt:lpstr>ПРЕ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ЕДИНАЯ ИНФОРМАЦИОННАЯ СИСТЕМА ДЛЯ ЖИЛИЩНОГО СЕКТОРА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Мурсакина Мадина Уралбековна</dc:creator>
  <cp:lastModifiedBy>Мурсакина Мадина Уралбековна</cp:lastModifiedBy>
  <cp:revision>612</cp:revision>
  <cp:lastPrinted>2017-04-26T03:54:53Z</cp:lastPrinted>
  <dcterms:created xsi:type="dcterms:W3CDTF">2016-07-12T09:21:14Z</dcterms:created>
  <dcterms:modified xsi:type="dcterms:W3CDTF">2017-04-26T04:03:36Z</dcterms:modified>
</cp:coreProperties>
</file>